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910" r:id="rId5"/>
    <p:sldId id="911" r:id="rId6"/>
    <p:sldId id="912" r:id="rId7"/>
    <p:sldId id="913" r:id="rId8"/>
    <p:sldId id="914" r:id="rId9"/>
    <p:sldId id="915" r:id="rId10"/>
    <p:sldId id="256" r:id="rId11"/>
    <p:sldId id="258" r:id="rId12"/>
    <p:sldId id="257" r:id="rId13"/>
  </p:sldIdLst>
  <p:sldSz cx="9144000" cy="5143500" type="screen16x9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28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3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8C8B"/>
    <a:srgbClr val="F2F2F4"/>
    <a:srgbClr val="313131"/>
    <a:srgbClr val="2B2B2B"/>
    <a:srgbClr val="C3C3C3"/>
    <a:srgbClr val="ECEAEB"/>
    <a:srgbClr val="292B2A"/>
    <a:srgbClr val="C9C9C9"/>
    <a:srgbClr val="010000"/>
    <a:srgbClr val="4D4E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266" autoAdjust="0"/>
    <p:restoredTop sz="93177" autoAdjust="0"/>
  </p:normalViewPr>
  <p:slideViewPr>
    <p:cSldViewPr snapToGrid="0">
      <p:cViewPr varScale="1">
        <p:scale>
          <a:sx n="171" d="100"/>
          <a:sy n="171" d="100"/>
        </p:scale>
        <p:origin x="1120" y="168"/>
      </p:cViewPr>
      <p:guideLst>
        <p:guide pos="5328"/>
        <p:guide orient="horz" pos="1620"/>
        <p:guide pos="3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2958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D88A55-27A1-4726-B6BA-565570B037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F60674-C439-4C47-991B-97891DFF18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B6A92-9AC4-4241-A12D-3E444424FB26}" type="datetimeFigureOut">
              <a:rPr lang="en-IN" smtClean="0"/>
              <a:t>07/09/20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88F0D-C29C-4E6C-958B-8709D00BDD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97745-075A-4829-97D2-C764BFC9ED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909FF-10D1-4B66-B741-D72AB76F569D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81382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0CCDE-DDDC-4977-B090-4BB893DA5E37}" type="datetimeFigureOut">
              <a:rPr lang="en-US" smtClean="0"/>
              <a:pPr/>
              <a:t>9/7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09035-2A4D-4DEF-8CB7-7629389143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71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CF8403-1DB7-BE43-B308-EA4E58597444}" type="slidenum">
              <a:rPr lang="en-CN" smtClean="0"/>
              <a:t>7</a:t>
            </a:fld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3487049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i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CF8403-1DB7-BE43-B308-EA4E58597444}" type="slidenum">
              <a:rPr lang="en-CN" smtClean="0"/>
              <a:t>8</a:t>
            </a:fld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4060371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9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9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9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9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9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9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9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9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9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9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9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9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9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9.emf"/><Relationship Id="rId2" Type="http://schemas.openxmlformats.org/officeDocument/2006/relationships/tags" Target="../tags/tag5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9.emf"/><Relationship Id="rId2" Type="http://schemas.openxmlformats.org/officeDocument/2006/relationships/tags" Target="../tags/tag5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9.emf"/><Relationship Id="rId2" Type="http://schemas.openxmlformats.org/officeDocument/2006/relationships/tags" Target="../tags/tag5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0.png"/><Relationship Id="rId2" Type="http://schemas.openxmlformats.org/officeDocument/2006/relationships/tags" Target="../tags/tag5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3.emf"/><Relationship Id="rId2" Type="http://schemas.openxmlformats.org/officeDocument/2006/relationships/tags" Target="../tags/tag71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3.emf"/><Relationship Id="rId2" Type="http://schemas.openxmlformats.org/officeDocument/2006/relationships/tags" Target="../tags/tag74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3.emf"/><Relationship Id="rId2" Type="http://schemas.openxmlformats.org/officeDocument/2006/relationships/tags" Target="../tags/tag77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3.emf"/><Relationship Id="rId2" Type="http://schemas.openxmlformats.org/officeDocument/2006/relationships/tags" Target="../tags/tag80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3.emf"/><Relationship Id="rId2" Type="http://schemas.openxmlformats.org/officeDocument/2006/relationships/tags" Target="../tags/tag83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3.emf"/><Relationship Id="rId2" Type="http://schemas.openxmlformats.org/officeDocument/2006/relationships/tags" Target="../tags/tag86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599180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6909" cy="5147994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</p:spTree>
    <p:extLst>
      <p:ext uri="{BB962C8B-B14F-4D97-AF65-F5344CB8AC3E}">
        <p14:creationId xmlns:p14="http://schemas.microsoft.com/office/powerpoint/2010/main" val="20393883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100000">
              <a:srgbClr val="A873A9"/>
            </a:gs>
            <a:gs pos="18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347192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9"/>
            <a:ext cx="9136553" cy="514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125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66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7613"/>
            <a:ext cx="8135939" cy="346075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036979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tandard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27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7613"/>
            <a:ext cx="8135939" cy="3460750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251649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Standard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765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7613"/>
            <a:ext cx="8135939" cy="3460750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39543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Standard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719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7613"/>
            <a:ext cx="8135939" cy="3460750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9442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Standard tex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162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7613"/>
            <a:ext cx="8135939" cy="3460750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556915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Standar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99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7613"/>
            <a:ext cx="8135939" cy="3460750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22531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Standard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46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7613"/>
            <a:ext cx="8135939" cy="3460750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57792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67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3425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947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20267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18000">
              <a:srgbClr val="0089C4"/>
            </a:gs>
            <a:gs pos="100000">
              <a:srgbClr val="629FD5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5069459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6909" cy="514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4282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84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26694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itle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018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29322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57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324845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Title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6742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708952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761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332973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757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5" y="1217613"/>
            <a:ext cx="3816350" cy="34607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4413" y="1217613"/>
            <a:ext cx="3816350" cy="34607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627785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899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5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4413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761091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Two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4735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5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4413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42417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1185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5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4413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415303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Two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7791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5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4413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82586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aqua">
    <p:bg>
      <p:bgPr>
        <a:gradFill>
          <a:gsLst>
            <a:gs pos="0">
              <a:srgbClr val="156570"/>
            </a:gs>
            <a:gs pos="100000">
              <a:srgbClr val="1E9D8B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807366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7"/>
            <a:ext cx="9136556" cy="5142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3177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Two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032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5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4413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94253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Two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2964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5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4413" y="1217613"/>
            <a:ext cx="3816350" cy="34607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9539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BF4024-250B-4DF0-88FD-894C7422F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48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BF4024-250B-4DF0-88FD-894C7422F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240ED2-4EC0-4518-89F1-BBB2F52D74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492500" cy="5138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B71538-B430-4B25-AB35-31746FF0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5936" y="380999"/>
            <a:ext cx="4032052" cy="6985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2523A-C070-4FDB-86F7-7875D41CCDA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10264BD-5203-49E4-BC0F-3E4178D54B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E744C28-1BF7-4E7F-A965-D914E61E58F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A17CC56-2B12-4A59-950F-3DCB9600CE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95936" y="1217612"/>
            <a:ext cx="4644828" cy="34607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03150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ic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493118-70BE-49DA-9C6C-347B4D8A8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385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493118-70BE-49DA-9C6C-347B4D8A8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B156F3-CF8C-4CDD-A03E-A24D93085D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651500" y="0"/>
            <a:ext cx="3492500" cy="5138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23F61C-4E8C-4FD1-B6ED-B2BBE09DE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9"/>
            <a:ext cx="4535575" cy="6985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15EEC5-0A06-4B5F-809B-FA1044DD41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31F658F-CD8F-4E6E-BDBA-CBEEDB56840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9D84B06-2D47-45F2-9684-460ADDAA2DA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A4E067B-840F-47D3-B48B-45596F55FF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4825" y="1217613"/>
            <a:ext cx="4535576" cy="34607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A2ED915-94F6-46CD-826E-92A745D55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7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19245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96B7A6-8E09-43BE-AD8E-4D7F6C40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36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96B7A6-8E09-43BE-AD8E-4D7F6C40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0C839-211D-4D2C-84AA-B3FFFB3A69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" y="1217612"/>
            <a:ext cx="5656880" cy="34607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1FA11C-355A-42A0-8ACC-631313FC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361182E-6B7A-4849-BC57-86A86014FF8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52FD04A-862C-4934-BC73-93BBD939EF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BB82D07-B33E-49CB-AC52-C6579322403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820880-CEF8-4B01-8B09-8EC1A7E2F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72147" y="1217612"/>
            <a:ext cx="2768616" cy="34607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436105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502617" y="1217613"/>
            <a:ext cx="5641383" cy="3460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250E1E-97E8-4411-B532-AD7CE1F3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A891F-E92C-403A-BFCC-535E846FAA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82573C8-E590-4CEE-84C0-E3B118D75FA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A0AFB-ED51-4458-A2A2-DDC32D4086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D241E64-67CD-4CA0-81D4-1083916DD1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4825" y="1217612"/>
            <a:ext cx="2757568" cy="34607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286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04825" y="1217613"/>
            <a:ext cx="3816350" cy="23463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824413" y="1217613"/>
            <a:ext cx="3816350" cy="23463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AB248D-57C3-42BE-B1A8-E7FC1A387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1C86-B158-41D0-A938-63F01F33576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26D6C4-8F10-4092-B714-9020C41BB82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ADD015-4119-4EA1-B431-858F91EA5FD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DAA8A-021C-4EC1-B26E-48889996AA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4825" y="3753002"/>
            <a:ext cx="3816350" cy="9253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8F5822-A908-4933-8FD3-A83B190BF6E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24413" y="3753002"/>
            <a:ext cx="3816350" cy="9253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063992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F063C06-AE5B-4F6F-9C37-FBE1184F3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861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F063C06-AE5B-4F6F-9C37-FBE1184F3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D051A0-039D-42D9-A58B-EA14A08412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04825" y="1217613"/>
            <a:ext cx="8135939" cy="3460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0F8291-C16C-4418-9B6D-28D21CA7A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BB389B-3B07-4E50-B6D9-4F152C7670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6D7D42-1612-4F34-9E0C-4BB0F061DDF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40F500-5589-4B84-923C-8EFC4E3CAED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360807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5797D4-FD91-4A72-BFB7-8798A1097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80F89-4AE5-4088-80FE-245322572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8167E6-9B12-4AF6-B568-50379A338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482458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4627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0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ACB5B-4858-4068-9665-FC3C21C1065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photo (16:9)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F548E2F-0354-46E1-A24B-261AE84898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43833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18000">
              <a:srgbClr val="1E9D8B"/>
            </a:gs>
            <a:gs pos="100000">
              <a:srgbClr val="4FB5AE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229734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7"/>
            <a:ext cx="9136556" cy="5142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7017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56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4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462C7498-3AB5-4406-913C-71CCEC8866D0}"/>
              </a:ext>
            </a:extLst>
          </p:cNvPr>
          <p:cNvSpPr>
            <a:spLocks noGrp="1"/>
          </p:cNvSpPr>
          <p:nvPr>
            <p:ph type="media" sz="quarter" idx="2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video (16:9)</a:t>
            </a:r>
          </a:p>
        </p:txBody>
      </p:sp>
    </p:spTree>
    <p:extLst>
      <p:ext uri="{BB962C8B-B14F-4D97-AF65-F5344CB8AC3E}">
        <p14:creationId xmlns:p14="http://schemas.microsoft.com/office/powerpoint/2010/main" val="1910466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tx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68937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80518A-9ACF-8844-AFD1-AB184AC65B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38100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blue">
    <p:bg>
      <p:bgPr>
        <a:gradFill>
          <a:gsLst>
            <a:gs pos="18000">
              <a:srgbClr val="0089C4"/>
            </a:gs>
            <a:gs pos="0">
              <a:srgbClr val="0089C4"/>
            </a:gs>
            <a:gs pos="100000">
              <a:srgbClr val="629FD5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4770E6-DFFC-4965-BCFF-C2F025ADA5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049779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aqua">
    <p:bg>
      <p:bgPr>
        <a:gradFill>
          <a:gsLst>
            <a:gs pos="0">
              <a:srgbClr val="156570"/>
            </a:gs>
            <a:gs pos="100000">
              <a:srgbClr val="1E9D8B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63CA9F-55F7-443D-BDB2-CC212DC826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797404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aqua">
    <p:bg>
      <p:bgPr>
        <a:gradFill>
          <a:gsLst>
            <a:gs pos="18000">
              <a:srgbClr val="1E9D8B"/>
            </a:gs>
            <a:gs pos="0">
              <a:srgbClr val="1E9D8B"/>
            </a:gs>
            <a:gs pos="100000">
              <a:srgbClr val="4FB5AE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58E946-AE1B-43D2-AC7C-8CB943F67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51293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green">
    <p:bg>
      <p:bgPr>
        <a:gradFill>
          <a:gsLst>
            <a:gs pos="0">
              <a:srgbClr val="00693C"/>
            </a:gs>
            <a:gs pos="100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1F90D0-6CD9-4C1B-A4C2-46CE98B2A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553861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green">
    <p:bg>
      <p:bgPr>
        <a:gradFill>
          <a:gsLst>
            <a:gs pos="18000">
              <a:srgbClr val="5B8F22"/>
            </a:gs>
            <a:gs pos="0">
              <a:srgbClr val="5B8F22"/>
            </a:gs>
            <a:gs pos="100000">
              <a:srgbClr val="A4B507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7AA786-DB75-447B-8332-AC6C6640A5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719341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pink">
    <p:bg>
      <p:bgPr>
        <a:gradFill>
          <a:gsLst>
            <a:gs pos="0">
              <a:srgbClr val="91004B"/>
            </a:gs>
            <a:gs pos="100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DAE9EB-A548-4354-803D-A97A84FD56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332007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pink">
    <p:bg>
      <p:bgPr>
        <a:gradFill>
          <a:gsLst>
            <a:gs pos="18000">
              <a:srgbClr val="EC4371"/>
            </a:gs>
            <a:gs pos="0">
              <a:srgbClr val="EC4371"/>
            </a:gs>
            <a:gs pos="100000">
              <a:srgbClr val="E59AAA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8FE969-BFB6-40FA-BDFB-A70E2DA113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457011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 dark green">
    <p:bg>
      <p:bgPr>
        <a:gradFill>
          <a:gsLst>
            <a:gs pos="0">
              <a:srgbClr val="00693C"/>
            </a:gs>
            <a:gs pos="100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488729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8"/>
            <a:ext cx="9136555" cy="5142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0080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purple">
    <p:bg>
      <p:bgPr>
        <a:gradFill>
          <a:gsLst>
            <a:gs pos="0">
              <a:srgbClr val="631D76"/>
            </a:gs>
            <a:gs pos="100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4935F9-513A-4F2C-A7C3-7F6333C538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449505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purple">
    <p:bg>
      <p:bgPr>
        <a:gradFill>
          <a:gsLst>
            <a:gs pos="18000">
              <a:srgbClr val="7D0063"/>
            </a:gs>
            <a:gs pos="0">
              <a:srgbClr val="7D0063"/>
            </a:gs>
            <a:gs pos="100000">
              <a:srgbClr val="A873A9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B6D403-B8D3-4876-B7EF-4C11A84F19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069752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orange">
    <p:bg>
      <p:bgPr>
        <a:gradFill>
          <a:gsLst>
            <a:gs pos="0">
              <a:schemeClr val="accent4">
                <a:lumMod val="75000"/>
              </a:schemeClr>
            </a:gs>
            <a:gs pos="100000">
              <a:schemeClr val="accent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390B55-9157-4153-BA72-3B90C02644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93785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orange">
    <p:bg>
      <p:bgPr>
        <a:gradFill>
          <a:gsLst>
            <a:gs pos="18000">
              <a:schemeClr val="accent4"/>
            </a:gs>
            <a:gs pos="0">
              <a:schemeClr val="accent4">
                <a:lumMod val="75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2" y="1539000"/>
            <a:ext cx="6478313" cy="1215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15DAFC-40A7-4F9D-A8C4-EB4846968E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291422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1F58990-F6FE-47C5-BC21-2A4526350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0839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8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1F58990-F6FE-47C5-BC21-2A4526350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0"/>
            <a:ext cx="3492500" cy="5143500"/>
          </a:xfrm>
          <a:prstGeom prst="rect">
            <a:avLst/>
          </a:prstGeom>
          <a:solidFill>
            <a:srgbClr val="004D79">
              <a:alpha val="89804"/>
            </a:srgb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17500" y="1219198"/>
            <a:ext cx="2851150" cy="31879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AB25F741-4DE1-41E1-8A68-93B346DCA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84401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622BA5-BC34-4A58-9264-E2D05A0F2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2733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2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622BA5-BC34-4A58-9264-E2D05A0F2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51501" y="0"/>
            <a:ext cx="3492500" cy="51435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964001" y="1219200"/>
            <a:ext cx="2865673" cy="3188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DD6326-33BA-4174-807D-738A31A700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0764" y="216000"/>
            <a:ext cx="360000" cy="457297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0817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DA24CE-89CA-4008-85D4-D98FA9672B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58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6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DA24CE-89CA-4008-85D4-D98FA9672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3933827"/>
            <a:ext cx="9144000" cy="1209675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04825" y="4218316"/>
            <a:ext cx="8135938" cy="6524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5C95AE-299F-431B-AB66-08FC9F22E3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407826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BAA68A-08EA-496D-B665-88DDACBC0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553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0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BAA68A-08EA-496D-B665-88DDACBC0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4825" y="2429550"/>
            <a:ext cx="3510000" cy="1971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EFB6CD9-7626-429B-A638-CA2C3907F2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838175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486757-F9A3-4F23-8717-59ECFD7A89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672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4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486757-F9A3-4F23-8717-59ECFD7A8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0763" y="748665"/>
            <a:ext cx="3510000" cy="1971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6A7725E-E42D-449C-A552-89E34F170F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18104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09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8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793965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, unit measuremen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762C03-275A-4B1F-B234-561444D869D2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E35EF-ADB2-4164-B32F-9BDCE33D215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5F407-F7B2-457F-BADC-5D7E348202A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456" y="948267"/>
            <a:ext cx="8955089" cy="37761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71199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100000">
              <a:srgbClr val="A4B507"/>
            </a:gs>
            <a:gs pos="18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546830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8"/>
            <a:ext cx="9136555" cy="5142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644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85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2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793965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948268"/>
            <a:ext cx="8955089" cy="37761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29024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67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6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793965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2772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4617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0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793965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040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1197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4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793965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55361" y="948268"/>
            <a:ext cx="2694184" cy="37761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2942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2564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8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793965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3528059"/>
            <a:ext cx="3817122" cy="11963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279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988103" y="1835838"/>
            <a:ext cx="1144502" cy="14578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163587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07504" y="4677984"/>
            <a:ext cx="892899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1" tIns="40815" rIns="81631" bIns="40815" rtlCol="0" anchor="ctr"/>
          <a:lstStyle/>
          <a:p>
            <a:pPr algn="ctr"/>
            <a:endParaRPr lang="en-US" dirty="0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103" y="1835837"/>
            <a:ext cx="1144502" cy="14549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1410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F5A9C-DDE4-FD4F-8DF8-4AA160917D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C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BF67C7-B0DA-7044-95F3-CE1D20BD7D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C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648BC5-4B35-C045-A1C5-89787E194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0E0ED-A23A-294B-8E85-FAE55EFF47D0}" type="datetimeFigureOut">
              <a:rPr lang="en-CN" smtClean="0"/>
              <a:t>2020/9/7</a:t>
            </a:fld>
            <a:endParaRPr lang="en-C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CD0E16-F589-DC47-A458-57C89C64D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7E3DDF-0CE9-A248-8E14-395787059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D311D-3D98-164F-BBA7-A53518D01B33}" type="slidenum">
              <a:rPr lang="en-CN" smtClean="0"/>
              <a:t>‹#›</a:t>
            </a:fld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26361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4D49BB-05AB-2A4D-93BC-46715BB89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01C02-B7B6-BC4F-96A9-A831D7D824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1E4E7-2072-734D-8162-8221F540BE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0E0ED-A23A-294B-8E85-FAE55EFF47D0}" type="datetimeFigureOut">
              <a:rPr lang="en-CN" smtClean="0"/>
              <a:t>2020/9/7</a:t>
            </a:fld>
            <a:endParaRPr lang="en-C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E7FC7B-DD1A-C945-90EF-732F05ACB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70BE08-5913-1A4B-A39B-E0C2A92A7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D311D-3D98-164F-BBA7-A53518D01B33}" type="slidenum">
              <a:rPr lang="en-CN" smtClean="0"/>
              <a:t>‹#›</a:t>
            </a:fld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87076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pink">
    <p:bg>
      <p:bgPr>
        <a:gradFill>
          <a:gsLst>
            <a:gs pos="0">
              <a:srgbClr val="91004B"/>
            </a:gs>
            <a:gs pos="100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1950296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69"/>
            <a:ext cx="9136553" cy="514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317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ink">
    <p:bg>
      <p:bgPr>
        <a:gradFill>
          <a:gsLst>
            <a:gs pos="100000">
              <a:srgbClr val="E59AAA"/>
            </a:gs>
            <a:gs pos="18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574405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69"/>
            <a:ext cx="9136553" cy="514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27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purple">
    <p:bg>
      <p:bgPr>
        <a:gradFill>
          <a:gsLst>
            <a:gs pos="0">
              <a:srgbClr val="631D76"/>
            </a:gs>
            <a:gs pos="100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028206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9"/>
            <a:ext cx="9136553" cy="514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03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vmlDrawing" Target="../drawings/vmlDrawing1.vml"/><Relationship Id="rId75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73" imgW="270" imgH="270" progId="TCLayout.ActiveDocument.1">
                  <p:embed/>
                </p:oleObj>
              </mc:Choice>
              <mc:Fallback>
                <p:oleObj name="think-cell Slide" r:id="rId7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E8F7B30E-EA8B-493C-86DB-F82608FA4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9"/>
            <a:ext cx="7523937" cy="6985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72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826" y="4884454"/>
            <a:ext cx="718767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rgbClr val="000000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48068" y="4884454"/>
            <a:ext cx="3910151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0" y="4864360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5" y="1217613"/>
            <a:ext cx="8135939" cy="346075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7" r:id="rId7"/>
    <p:sldLayoutId id="2147483766" r:id="rId8"/>
    <p:sldLayoutId id="2147483769" r:id="rId9"/>
    <p:sldLayoutId id="2147483770" r:id="rId10"/>
    <p:sldLayoutId id="2147483692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01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694" r:id="rId25"/>
    <p:sldLayoutId id="2147483748" r:id="rId26"/>
    <p:sldLayoutId id="2147483749" r:id="rId27"/>
    <p:sldLayoutId id="2147483750" r:id="rId28"/>
    <p:sldLayoutId id="2147483751" r:id="rId29"/>
    <p:sldLayoutId id="2147483752" r:id="rId30"/>
    <p:sldLayoutId id="2147483753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2" r:id="rId38"/>
    <p:sldLayoutId id="2147483703" r:id="rId39"/>
    <p:sldLayoutId id="2147483741" r:id="rId40"/>
    <p:sldLayoutId id="2147483705" r:id="rId41"/>
    <p:sldLayoutId id="2147483706" r:id="rId42"/>
    <p:sldLayoutId id="2147483707" r:id="rId43"/>
    <p:sldLayoutId id="2147483708" r:id="rId44"/>
    <p:sldLayoutId id="2147483709" r:id="rId45"/>
    <p:sldLayoutId id="2147483710" r:id="rId46"/>
    <p:sldLayoutId id="2147483711" r:id="rId47"/>
    <p:sldLayoutId id="2147483712" r:id="rId48"/>
    <p:sldLayoutId id="2147483713" r:id="rId49"/>
    <p:sldLayoutId id="2147483714" r:id="rId50"/>
    <p:sldLayoutId id="2147483715" r:id="rId51"/>
    <p:sldLayoutId id="2147483739" r:id="rId52"/>
    <p:sldLayoutId id="2147483740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  <p:sldLayoutId id="2147483722" r:id="rId60"/>
    <p:sldLayoutId id="2147483723" r:id="rId61"/>
    <p:sldLayoutId id="2147483724" r:id="rId62"/>
    <p:sldLayoutId id="2147483725" r:id="rId63"/>
    <p:sldLayoutId id="2147483726" r:id="rId64"/>
    <p:sldLayoutId id="2147483727" r:id="rId65"/>
    <p:sldLayoutId id="2147483728" r:id="rId66"/>
    <p:sldLayoutId id="2147483771" r:id="rId67"/>
    <p:sldLayoutId id="2147483772" r:id="rId68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400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1925" indent="-16192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2004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29768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01675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 userDrawn="1">
          <p15:clr>
            <a:srgbClr val="000000"/>
          </p15:clr>
        </p15:guide>
        <p15:guide id="2" pos="5443" userDrawn="1">
          <p15:clr>
            <a:srgbClr val="000000"/>
          </p15:clr>
        </p15:guide>
        <p15:guide id="3" pos="5057" userDrawn="1">
          <p15:clr>
            <a:srgbClr val="000000"/>
          </p15:clr>
        </p15:guide>
        <p15:guide id="4" orient="horz" pos="237" userDrawn="1">
          <p15:clr>
            <a:srgbClr val="000000"/>
          </p15:clr>
        </p15:guide>
        <p15:guide id="5" orient="horz" pos="690" userDrawn="1">
          <p15:clr>
            <a:srgbClr val="000000"/>
          </p15:clr>
        </p15:guide>
        <p15:guide id="6" orient="horz" pos="758" userDrawn="1">
          <p15:clr>
            <a:srgbClr val="000000"/>
          </p15:clr>
        </p15:guide>
        <p15:guide id="7" orient="horz" pos="2958" userDrawn="1">
          <p15:clr>
            <a:srgbClr val="000000"/>
          </p15:clr>
        </p15:guide>
        <p15:guide id="8" pos="3039" userDrawn="1">
          <p15:clr>
            <a:srgbClr val="000000"/>
          </p15:clr>
        </p15:guide>
        <p15:guide id="10" pos="2880" userDrawn="1">
          <p15:clr>
            <a:srgbClr val="000000"/>
          </p15:clr>
        </p15:guide>
        <p15:guide id="11" pos="2721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8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8.xml"/><Relationship Id="rId6" Type="http://schemas.openxmlformats.org/officeDocument/2006/relationships/slide" Target="slide2.xml"/><Relationship Id="rId5" Type="http://schemas.openxmlformats.org/officeDocument/2006/relationships/slide" Target="slide5.xml"/><Relationship Id="rId4" Type="http://schemas.openxmlformats.org/officeDocument/2006/relationships/slide" Target="slide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8.xml"/><Relationship Id="rId5" Type="http://schemas.openxmlformats.org/officeDocument/2006/relationships/slide" Target="slide5.xml"/><Relationship Id="rId4" Type="http://schemas.openxmlformats.org/officeDocument/2006/relationships/slide" Target="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Relationship Id="rId5" Type="http://schemas.openxmlformats.org/officeDocument/2006/relationships/image" Target="../media/image19.png"/><Relationship Id="rId4" Type="http://schemas.openxmlformats.org/officeDocument/2006/relationships/image" Target="../media/image18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19.png"/><Relationship Id="rId4" Type="http://schemas.openxmlformats.org/officeDocument/2006/relationships/image" Target="../media/image20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slide" Target="slide7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19.png"/><Relationship Id="rId4" Type="http://schemas.openxmlformats.org/officeDocument/2006/relationships/image" Target="../media/image21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Proposed</a:t>
            </a:r>
            <a:r>
              <a:rPr lang="zh-CN" altLang="en-US" dirty="0"/>
              <a:t> </a:t>
            </a:r>
            <a:r>
              <a:rPr lang="en-US" altLang="zh-CN" dirty="0"/>
              <a:t>new</a:t>
            </a:r>
            <a:r>
              <a:rPr lang="zh-CN" altLang="en-US" dirty="0"/>
              <a:t> </a:t>
            </a:r>
            <a:r>
              <a:rPr lang="en-US" altLang="zh-CN" dirty="0"/>
              <a:t>design</a:t>
            </a:r>
            <a:r>
              <a:rPr lang="zh-CN" altLang="en-US" dirty="0"/>
              <a:t> </a:t>
            </a:r>
            <a:r>
              <a:rPr lang="en-US" altLang="zh-CN" dirty="0"/>
              <a:t>(mobile</a:t>
            </a:r>
            <a:r>
              <a:rPr lang="zh-CN" altLang="en-US" dirty="0"/>
              <a:t> </a:t>
            </a:r>
            <a:r>
              <a:rPr lang="en-US" altLang="zh-CN" dirty="0"/>
              <a:t>style)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368299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E15C908-79D0-C841-892E-C58C7A61E17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703" y="1095376"/>
            <a:ext cx="4848630" cy="3038475"/>
          </a:xfrm>
          <a:prstGeom prst="rect">
            <a:avLst/>
          </a:prstGeom>
        </p:spPr>
      </p:pic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2DACCF1C-0233-6346-A9C9-CCBCD965B36A}"/>
              </a:ext>
            </a:extLst>
          </p:cNvPr>
          <p:cNvSpPr/>
          <p:nvPr/>
        </p:nvSpPr>
        <p:spPr>
          <a:xfrm>
            <a:off x="1626578" y="4009294"/>
            <a:ext cx="703385" cy="395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7" name="Rectangle 6">
            <a:hlinkClick r:id="rId3" action="ppaction://hlinksldjump"/>
            <a:extLst>
              <a:ext uri="{FF2B5EF4-FFF2-40B4-BE49-F238E27FC236}">
                <a16:creationId xmlns:a16="http://schemas.microsoft.com/office/drawing/2014/main" id="{EDEBE38A-ACD1-ED47-9EE9-307C0B49CAE9}"/>
              </a:ext>
            </a:extLst>
          </p:cNvPr>
          <p:cNvSpPr/>
          <p:nvPr/>
        </p:nvSpPr>
        <p:spPr>
          <a:xfrm>
            <a:off x="2417886" y="3982916"/>
            <a:ext cx="808892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E3B4AA-9CE5-8F4B-BA24-6D50A2D3375E}"/>
              </a:ext>
            </a:extLst>
          </p:cNvPr>
          <p:cNvSpPr txBox="1"/>
          <p:nvPr/>
        </p:nvSpPr>
        <p:spPr>
          <a:xfrm>
            <a:off x="5860074" y="1095375"/>
            <a:ext cx="278068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altLang="zh-CN" sz="1600" dirty="0"/>
              <a:t>Default keyboard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Single press up arrow to activate Shift for one character, keyboard reverts to default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Double press up arrow for Caps Lock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Press “#@+” for special characters</a:t>
            </a:r>
            <a:endParaRPr lang="en-CN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A7F681-2B73-E14A-BD04-D2BD6F4DC34A}"/>
              </a:ext>
            </a:extLst>
          </p:cNvPr>
          <p:cNvSpPr txBox="1"/>
          <p:nvPr/>
        </p:nvSpPr>
        <p:spPr>
          <a:xfrm>
            <a:off x="421647" y="790003"/>
            <a:ext cx="132172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Default Mode</a:t>
            </a:r>
          </a:p>
        </p:txBody>
      </p:sp>
      <p:sp>
        <p:nvSpPr>
          <p:cNvPr id="3" name="Rectangle 2">
            <a:hlinkClick r:id="rId3" action="ppaction://hlinksldjump"/>
            <a:extLst>
              <a:ext uri="{FF2B5EF4-FFF2-40B4-BE49-F238E27FC236}">
                <a16:creationId xmlns:a16="http://schemas.microsoft.com/office/drawing/2014/main" id="{8032BB46-7FE7-4F48-A7D9-FF5C53871ADF}"/>
              </a:ext>
            </a:extLst>
          </p:cNvPr>
          <p:cNvSpPr/>
          <p:nvPr/>
        </p:nvSpPr>
        <p:spPr>
          <a:xfrm>
            <a:off x="587185" y="3674949"/>
            <a:ext cx="568902" cy="37317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Rectangle 10">
            <a:hlinkClick r:id="rId4" action="ppaction://hlinksldjump"/>
            <a:extLst>
              <a:ext uri="{FF2B5EF4-FFF2-40B4-BE49-F238E27FC236}">
                <a16:creationId xmlns:a16="http://schemas.microsoft.com/office/drawing/2014/main" id="{1AE09F95-16F7-9B4B-9B6E-55737149EB22}"/>
              </a:ext>
            </a:extLst>
          </p:cNvPr>
          <p:cNvSpPr/>
          <p:nvPr/>
        </p:nvSpPr>
        <p:spPr>
          <a:xfrm>
            <a:off x="1181843" y="3683881"/>
            <a:ext cx="568902" cy="37317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C69632E-1CDC-8046-8C0E-9A10A7AD440C}"/>
              </a:ext>
            </a:extLst>
          </p:cNvPr>
          <p:cNvSpPr/>
          <p:nvPr/>
        </p:nvSpPr>
        <p:spPr>
          <a:xfrm>
            <a:off x="436729" y="188316"/>
            <a:ext cx="75608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/>
            <a:r>
              <a:rPr lang="en-US" sz="2800" dirty="0">
                <a:solidFill>
                  <a:schemeClr val="dk1"/>
                </a:solidFill>
              </a:rPr>
              <a:t>Keyboard refinements </a:t>
            </a:r>
            <a:r>
              <a:rPr lang="en-US" sz="1200" dirty="0">
                <a:solidFill>
                  <a:schemeClr val="dk1"/>
                </a:solidFill>
              </a:rPr>
              <a:t>v3</a:t>
            </a:r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70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DCE77AE-06AB-1B4C-84D6-6B9F4BA67C2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703" y="1095376"/>
            <a:ext cx="4848630" cy="3038474"/>
          </a:xfrm>
          <a:prstGeom prst="rect">
            <a:avLst/>
          </a:prstGeom>
        </p:spPr>
      </p:pic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2DACCF1C-0233-6346-A9C9-CCBCD965B36A}"/>
              </a:ext>
            </a:extLst>
          </p:cNvPr>
          <p:cNvSpPr/>
          <p:nvPr/>
        </p:nvSpPr>
        <p:spPr>
          <a:xfrm>
            <a:off x="1626578" y="4009294"/>
            <a:ext cx="703385" cy="395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7" name="Rectangle 6">
            <a:hlinkClick r:id="rId3" action="ppaction://hlinksldjump"/>
            <a:extLst>
              <a:ext uri="{FF2B5EF4-FFF2-40B4-BE49-F238E27FC236}">
                <a16:creationId xmlns:a16="http://schemas.microsoft.com/office/drawing/2014/main" id="{EDEBE38A-ACD1-ED47-9EE9-307C0B49CAE9}"/>
              </a:ext>
            </a:extLst>
          </p:cNvPr>
          <p:cNvSpPr/>
          <p:nvPr/>
        </p:nvSpPr>
        <p:spPr>
          <a:xfrm>
            <a:off x="2417886" y="3982916"/>
            <a:ext cx="808892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E3B4AA-9CE5-8F4B-BA24-6D50A2D3375E}"/>
              </a:ext>
            </a:extLst>
          </p:cNvPr>
          <p:cNvSpPr txBox="1"/>
          <p:nvPr/>
        </p:nvSpPr>
        <p:spPr>
          <a:xfrm>
            <a:off x="5860074" y="1095375"/>
            <a:ext cx="27806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After character press, keyboard reverts to default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Double press up arrow for Caps Lock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Press “#@+” for special characters</a:t>
            </a:r>
            <a:endParaRPr lang="en-CN" sz="1600" dirty="0"/>
          </a:p>
        </p:txBody>
      </p:sp>
      <p:sp>
        <p:nvSpPr>
          <p:cNvPr id="10" name="Rectangle 9">
            <a:hlinkClick r:id="rId4" action="ppaction://hlinksldjump"/>
            <a:extLst>
              <a:ext uri="{FF2B5EF4-FFF2-40B4-BE49-F238E27FC236}">
                <a16:creationId xmlns:a16="http://schemas.microsoft.com/office/drawing/2014/main" id="{436D937A-9D58-0E4F-AFF3-C3B1A34AB8A7}"/>
              </a:ext>
            </a:extLst>
          </p:cNvPr>
          <p:cNvSpPr/>
          <p:nvPr/>
        </p:nvSpPr>
        <p:spPr>
          <a:xfrm>
            <a:off x="587078" y="3683405"/>
            <a:ext cx="568902" cy="37317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Rectangle 10">
            <a:hlinkClick r:id="rId5" action="ppaction://hlinksldjump"/>
            <a:extLst>
              <a:ext uri="{FF2B5EF4-FFF2-40B4-BE49-F238E27FC236}">
                <a16:creationId xmlns:a16="http://schemas.microsoft.com/office/drawing/2014/main" id="{7EE44EE9-9E8A-EC44-B7CD-A5E6761072D8}"/>
              </a:ext>
            </a:extLst>
          </p:cNvPr>
          <p:cNvSpPr/>
          <p:nvPr/>
        </p:nvSpPr>
        <p:spPr>
          <a:xfrm>
            <a:off x="1176288" y="3676966"/>
            <a:ext cx="568902" cy="37317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Rectangle 11">
            <a:hlinkClick r:id="rId6" action="ppaction://hlinksldjump"/>
            <a:extLst>
              <a:ext uri="{FF2B5EF4-FFF2-40B4-BE49-F238E27FC236}">
                <a16:creationId xmlns:a16="http://schemas.microsoft.com/office/drawing/2014/main" id="{BF5848F8-C6FD-3D49-9102-5A84404330F9}"/>
              </a:ext>
            </a:extLst>
          </p:cNvPr>
          <p:cNvSpPr/>
          <p:nvPr/>
        </p:nvSpPr>
        <p:spPr>
          <a:xfrm>
            <a:off x="623667" y="2485104"/>
            <a:ext cx="4351500" cy="1208768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D0EC10-10E1-444D-B2CE-06D120A5CC68}"/>
              </a:ext>
            </a:extLst>
          </p:cNvPr>
          <p:cNvSpPr txBox="1"/>
          <p:nvPr/>
        </p:nvSpPr>
        <p:spPr>
          <a:xfrm>
            <a:off x="421647" y="790003"/>
            <a:ext cx="132172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Shift Mod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295868-FEDB-6D4B-BD06-F202C195B7F0}"/>
              </a:ext>
            </a:extLst>
          </p:cNvPr>
          <p:cNvSpPr/>
          <p:nvPr/>
        </p:nvSpPr>
        <p:spPr>
          <a:xfrm>
            <a:off x="436729" y="188316"/>
            <a:ext cx="75608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/>
            <a:r>
              <a:rPr lang="en-US" sz="2800" dirty="0">
                <a:solidFill>
                  <a:schemeClr val="dk1"/>
                </a:solidFill>
              </a:rPr>
              <a:t>Keyboard refinements </a:t>
            </a:r>
            <a:r>
              <a:rPr lang="en-US" sz="1200" dirty="0">
                <a:solidFill>
                  <a:schemeClr val="dk1"/>
                </a:solidFill>
              </a:rPr>
              <a:t>v3</a:t>
            </a:r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46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54CF683-E560-DD47-8555-574CFE5CC73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704" y="1095376"/>
            <a:ext cx="4848628" cy="3038474"/>
          </a:xfrm>
          <a:prstGeom prst="rect">
            <a:avLst/>
          </a:prstGeom>
        </p:spPr>
      </p:pic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2DACCF1C-0233-6346-A9C9-CCBCD965B36A}"/>
              </a:ext>
            </a:extLst>
          </p:cNvPr>
          <p:cNvSpPr/>
          <p:nvPr/>
        </p:nvSpPr>
        <p:spPr>
          <a:xfrm>
            <a:off x="1626578" y="4009294"/>
            <a:ext cx="703385" cy="395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7" name="Rectangle 6">
            <a:hlinkClick r:id="rId3" action="ppaction://hlinksldjump"/>
            <a:extLst>
              <a:ext uri="{FF2B5EF4-FFF2-40B4-BE49-F238E27FC236}">
                <a16:creationId xmlns:a16="http://schemas.microsoft.com/office/drawing/2014/main" id="{EDEBE38A-ACD1-ED47-9EE9-307C0B49CAE9}"/>
              </a:ext>
            </a:extLst>
          </p:cNvPr>
          <p:cNvSpPr/>
          <p:nvPr/>
        </p:nvSpPr>
        <p:spPr>
          <a:xfrm>
            <a:off x="2417886" y="3982916"/>
            <a:ext cx="808892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E3B4AA-9CE5-8F4B-BA24-6D50A2D3375E}"/>
              </a:ext>
            </a:extLst>
          </p:cNvPr>
          <p:cNvSpPr txBox="1"/>
          <p:nvPr/>
        </p:nvSpPr>
        <p:spPr>
          <a:xfrm>
            <a:off x="5860074" y="1095376"/>
            <a:ext cx="278068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Keyboard stays in Caps lock mode till blue up arrow key or “OK” is pressed 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Single press up arrow to return to default keyboard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Press “#@+” for special characters</a:t>
            </a:r>
            <a:endParaRPr lang="en-CN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AEF480-95E7-E74F-9B94-86E052BAE1AC}"/>
              </a:ext>
            </a:extLst>
          </p:cNvPr>
          <p:cNvSpPr/>
          <p:nvPr/>
        </p:nvSpPr>
        <p:spPr>
          <a:xfrm>
            <a:off x="436729" y="188316"/>
            <a:ext cx="75608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/>
            <a:r>
              <a:rPr lang="en-US" sz="2800" dirty="0">
                <a:solidFill>
                  <a:schemeClr val="dk1"/>
                </a:solidFill>
              </a:rPr>
              <a:t>Keyboard refinements </a:t>
            </a:r>
            <a:r>
              <a:rPr lang="en-US" sz="1200" dirty="0">
                <a:solidFill>
                  <a:schemeClr val="dk1"/>
                </a:solidFill>
              </a:rPr>
              <a:t>v3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0" name="Rectangle 9">
            <a:hlinkClick r:id="rId4" action="ppaction://hlinksldjump"/>
            <a:extLst>
              <a:ext uri="{FF2B5EF4-FFF2-40B4-BE49-F238E27FC236}">
                <a16:creationId xmlns:a16="http://schemas.microsoft.com/office/drawing/2014/main" id="{FAAF666A-6630-9A4D-B71E-686D00A7DA72}"/>
              </a:ext>
            </a:extLst>
          </p:cNvPr>
          <p:cNvSpPr/>
          <p:nvPr/>
        </p:nvSpPr>
        <p:spPr>
          <a:xfrm>
            <a:off x="561322" y="3686936"/>
            <a:ext cx="568902" cy="37317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Rectangle 10">
            <a:hlinkClick r:id="rId5" action="ppaction://hlinksldjump"/>
            <a:extLst>
              <a:ext uri="{FF2B5EF4-FFF2-40B4-BE49-F238E27FC236}">
                <a16:creationId xmlns:a16="http://schemas.microsoft.com/office/drawing/2014/main" id="{A2352EF5-B9AA-B847-8F9F-C48D030D2235}"/>
              </a:ext>
            </a:extLst>
          </p:cNvPr>
          <p:cNvSpPr/>
          <p:nvPr/>
        </p:nvSpPr>
        <p:spPr>
          <a:xfrm>
            <a:off x="1195504" y="3686936"/>
            <a:ext cx="568902" cy="37317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Rectangle 11">
            <a:hlinkClick r:id="rId4" action="ppaction://hlinksldjump"/>
            <a:extLst>
              <a:ext uri="{FF2B5EF4-FFF2-40B4-BE49-F238E27FC236}">
                <a16:creationId xmlns:a16="http://schemas.microsoft.com/office/drawing/2014/main" id="{BCB89408-47FB-474B-8E1A-E8E2E8294FC6}"/>
              </a:ext>
            </a:extLst>
          </p:cNvPr>
          <p:cNvSpPr/>
          <p:nvPr/>
        </p:nvSpPr>
        <p:spPr>
          <a:xfrm>
            <a:off x="4674351" y="3760676"/>
            <a:ext cx="568902" cy="37317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731001-9A63-4D40-ADA7-70B274045130}"/>
              </a:ext>
            </a:extLst>
          </p:cNvPr>
          <p:cNvSpPr txBox="1"/>
          <p:nvPr/>
        </p:nvSpPr>
        <p:spPr>
          <a:xfrm>
            <a:off x="421647" y="790003"/>
            <a:ext cx="132172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Caps Lock Mode</a:t>
            </a:r>
          </a:p>
        </p:txBody>
      </p:sp>
    </p:spTree>
    <p:extLst>
      <p:ext uri="{BB962C8B-B14F-4D97-AF65-F5344CB8AC3E}">
        <p14:creationId xmlns:p14="http://schemas.microsoft.com/office/powerpoint/2010/main" val="421533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84">
            <a:extLst>
              <a:ext uri="{FF2B5EF4-FFF2-40B4-BE49-F238E27FC236}">
                <a16:creationId xmlns:a16="http://schemas.microsoft.com/office/drawing/2014/main" id="{34B0789A-D952-964D-B0BE-896755C6880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704" y="1095376"/>
            <a:ext cx="4848628" cy="30384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FE3B4AA-9CE5-8F4B-BA24-6D50A2D3375E}"/>
              </a:ext>
            </a:extLst>
          </p:cNvPr>
          <p:cNvSpPr txBox="1"/>
          <p:nvPr/>
        </p:nvSpPr>
        <p:spPr>
          <a:xfrm>
            <a:off x="5539797" y="813687"/>
            <a:ext cx="30542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600" dirty="0"/>
              <a:t>Press ”ABC” to return to default keyboard</a:t>
            </a:r>
            <a:endParaRPr lang="en-CN" sz="1600" dirty="0"/>
          </a:p>
        </p:txBody>
      </p:sp>
      <p:sp>
        <p:nvSpPr>
          <p:cNvPr id="10" name="Rectangle 9">
            <a:hlinkClick r:id="rId3" action="ppaction://hlinksldjump"/>
            <a:extLst>
              <a:ext uri="{FF2B5EF4-FFF2-40B4-BE49-F238E27FC236}">
                <a16:creationId xmlns:a16="http://schemas.microsoft.com/office/drawing/2014/main" id="{E23F8063-AC6E-7246-9F89-43F27F7066B8}"/>
              </a:ext>
            </a:extLst>
          </p:cNvPr>
          <p:cNvSpPr/>
          <p:nvPr/>
        </p:nvSpPr>
        <p:spPr>
          <a:xfrm>
            <a:off x="561322" y="3686936"/>
            <a:ext cx="1223233" cy="37317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Rectangle 3"/>
          <p:cNvSpPr/>
          <p:nvPr/>
        </p:nvSpPr>
        <p:spPr>
          <a:xfrm>
            <a:off x="5539797" y="1398462"/>
            <a:ext cx="3054246" cy="92333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57150" fontAlgn="ctr"/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UNCH verbatim contractual requirement for September release reads as follows, </a:t>
            </a:r>
          </a:p>
          <a:p>
            <a:pPr marL="57150" fontAlgn="ctr">
              <a:spcBef>
                <a:spcPts val="600"/>
              </a:spcBef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</a:rPr>
              <a:t>“</a:t>
            </a:r>
            <a:r>
              <a:rPr lang="en-US" sz="1100" i="1" dirty="0">
                <a:solidFill>
                  <a:srgbClr val="000000"/>
                </a:solidFill>
                <a:latin typeface="Calibri" panose="020F0502020204030204" pitchFamily="34" charset="0"/>
              </a:rPr>
              <a:t>AD integration to support all characters that Microsoft supports in their AD for passwords.”</a:t>
            </a:r>
          </a:p>
        </p:txBody>
      </p:sp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3A2C417A-1BE3-D748-B6C8-82F8D0F36B8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39797" y="2378446"/>
            <a:ext cx="2674069" cy="2653972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5FA834A7-A814-7F40-842D-AFFD410986D4}"/>
              </a:ext>
            </a:extLst>
          </p:cNvPr>
          <p:cNvSpPr txBox="1"/>
          <p:nvPr/>
        </p:nvSpPr>
        <p:spPr>
          <a:xfrm>
            <a:off x="421647" y="790003"/>
            <a:ext cx="19749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Special Charact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E0557-578E-FD46-9065-63CA1B066A49}"/>
              </a:ext>
            </a:extLst>
          </p:cNvPr>
          <p:cNvSpPr/>
          <p:nvPr/>
        </p:nvSpPr>
        <p:spPr>
          <a:xfrm>
            <a:off x="436729" y="188316"/>
            <a:ext cx="75608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/>
            <a:r>
              <a:rPr lang="en-US" sz="2800" dirty="0">
                <a:solidFill>
                  <a:schemeClr val="dk1"/>
                </a:solidFill>
              </a:rPr>
              <a:t>Keyboard refinements </a:t>
            </a:r>
            <a:r>
              <a:rPr lang="en-US" sz="1200" dirty="0">
                <a:solidFill>
                  <a:schemeClr val="dk1"/>
                </a:solidFill>
              </a:rPr>
              <a:t>v3</a:t>
            </a:r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164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ld</a:t>
            </a:r>
            <a:r>
              <a:rPr lang="zh-CN" altLang="en-US" dirty="0"/>
              <a:t> </a:t>
            </a:r>
            <a:r>
              <a:rPr lang="en-US" altLang="zh-CN" dirty="0"/>
              <a:t>design</a:t>
            </a:r>
            <a:r>
              <a:rPr lang="zh-CN" altLang="en-US" dirty="0"/>
              <a:t> </a:t>
            </a:r>
            <a:r>
              <a:rPr lang="en-US" altLang="zh-CN" dirty="0"/>
              <a:t>&amp;</a:t>
            </a:r>
            <a:r>
              <a:rPr lang="zh-CN" altLang="en-US" dirty="0"/>
              <a:t> </a:t>
            </a:r>
            <a:r>
              <a:rPr lang="en-US" altLang="zh-CN" dirty="0"/>
              <a:t>Current</a:t>
            </a:r>
            <a:r>
              <a:rPr lang="zh-CN" altLang="en-US" dirty="0"/>
              <a:t> </a:t>
            </a:r>
            <a:r>
              <a:rPr lang="en-US" dirty="0"/>
              <a:t>R&amp;D implement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6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302153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0043742-91E3-ED49-BD36-0971B564722A}"/>
              </a:ext>
            </a:extLst>
          </p:cNvPr>
          <p:cNvSpPr txBox="1"/>
          <p:nvPr/>
        </p:nvSpPr>
        <p:spPr>
          <a:xfrm>
            <a:off x="5860073" y="1095375"/>
            <a:ext cx="248382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Default status Keybo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umerics + small let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ursor left right controls added</a:t>
            </a:r>
            <a:r>
              <a:rPr lang="en-CN" sz="1600"/>
              <a:t> </a:t>
            </a:r>
            <a:endParaRPr lang="en-CN" sz="1600" dirty="0"/>
          </a:p>
        </p:txBody>
      </p:sp>
      <p:sp>
        <p:nvSpPr>
          <p:cNvPr id="6" name="Rectangle 5">
            <a:hlinkClick r:id="rId3" action="ppaction://hlinksldjump"/>
            <a:extLst>
              <a:ext uri="{FF2B5EF4-FFF2-40B4-BE49-F238E27FC236}">
                <a16:creationId xmlns:a16="http://schemas.microsoft.com/office/drawing/2014/main" id="{3EDE6A06-AF42-DB4C-9AAF-6DFD39623B6A}"/>
              </a:ext>
            </a:extLst>
          </p:cNvPr>
          <p:cNvSpPr/>
          <p:nvPr/>
        </p:nvSpPr>
        <p:spPr>
          <a:xfrm>
            <a:off x="1626577" y="4009293"/>
            <a:ext cx="703385" cy="395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CAABFB9-881D-9F4C-AF3A-01B9534A2DEA}"/>
              </a:ext>
            </a:extLst>
          </p:cNvPr>
          <p:cNvSpPr/>
          <p:nvPr/>
        </p:nvSpPr>
        <p:spPr>
          <a:xfrm>
            <a:off x="436728" y="188316"/>
            <a:ext cx="75608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en-US" sz="2800" dirty="0">
                <a:solidFill>
                  <a:schemeClr val="dk1"/>
                </a:solidFill>
              </a:rPr>
              <a:t>Keyboard refinements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EE7B62-A83B-9449-A692-CDC6E4E6A753}"/>
              </a:ext>
            </a:extLst>
          </p:cNvPr>
          <p:cNvSpPr txBox="1"/>
          <p:nvPr/>
        </p:nvSpPr>
        <p:spPr>
          <a:xfrm>
            <a:off x="3685032" y="4151031"/>
            <a:ext cx="25629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/>
              <a:t>Default or Lock</a:t>
            </a:r>
            <a:r>
              <a:rPr lang="zh-CN" altLang="en-US" sz="900" dirty="0"/>
              <a:t> </a:t>
            </a:r>
            <a:r>
              <a:rPr lang="en-US" altLang="zh-CN" sz="900" dirty="0"/>
              <a:t>status</a:t>
            </a:r>
            <a:r>
              <a:rPr lang="zh-CN" altLang="en-US" sz="900" dirty="0"/>
              <a:t> </a:t>
            </a:r>
            <a:r>
              <a:rPr lang="en-US" altLang="zh-CN" sz="900" dirty="0"/>
              <a:t>2/Shift status2</a:t>
            </a:r>
          </a:p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numerics+ small letters letters</a:t>
            </a:r>
            <a:r>
              <a:rPr lang="en-CN" sz="900" dirty="0">
                <a:solidFill>
                  <a:schemeClr val="bg1">
                    <a:lumMod val="65000"/>
                  </a:schemeClr>
                </a:solidFill>
              </a:rPr>
              <a:t> </a:t>
            </a:r>
          </a:p>
          <a:p>
            <a:endParaRPr lang="en-CN" sz="90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8BEEF93-B7EB-4F46-B32D-677F996EF952}"/>
              </a:ext>
            </a:extLst>
          </p:cNvPr>
          <p:cNvGrpSpPr/>
          <p:nvPr/>
        </p:nvGrpSpPr>
        <p:grpSpPr>
          <a:xfrm>
            <a:off x="503238" y="1095375"/>
            <a:ext cx="4855146" cy="3034466"/>
            <a:chOff x="503238" y="1095375"/>
            <a:chExt cx="4855146" cy="303446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72DF8E5C-D557-DE4D-9A78-CCDA3604E8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3238" y="1095375"/>
              <a:ext cx="4855146" cy="3034466"/>
            </a:xfrm>
            <a:prstGeom prst="rect">
              <a:avLst/>
            </a:prstGeom>
          </p:spPr>
        </p:pic>
        <p:pic>
          <p:nvPicPr>
            <p:cNvPr id="10" name="Picture 9" descr="A picture containing meter&#10;&#10;Description automatically generated">
              <a:extLst>
                <a:ext uri="{FF2B5EF4-FFF2-40B4-BE49-F238E27FC236}">
                  <a16:creationId xmlns:a16="http://schemas.microsoft.com/office/drawing/2014/main" id="{8EB3BC89-0447-0844-B487-0DB403D0E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40" y="1125350"/>
              <a:ext cx="508000" cy="222250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53D6C9C4-DAB7-6041-8DB5-75C36096E02E}"/>
              </a:ext>
            </a:extLst>
          </p:cNvPr>
          <p:cNvSpPr/>
          <p:nvPr/>
        </p:nvSpPr>
        <p:spPr>
          <a:xfrm>
            <a:off x="404158" y="4426984"/>
            <a:ext cx="18894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Tracker #2 and #9 </a:t>
            </a:r>
          </a:p>
        </p:txBody>
      </p:sp>
    </p:spTree>
    <p:extLst>
      <p:ext uri="{BB962C8B-B14F-4D97-AF65-F5344CB8AC3E}">
        <p14:creationId xmlns:p14="http://schemas.microsoft.com/office/powerpoint/2010/main" val="1824783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25BCE86-168F-894D-93C6-E87117BAA05B}"/>
              </a:ext>
            </a:extLst>
          </p:cNvPr>
          <p:cNvSpPr txBox="1"/>
          <p:nvPr/>
        </p:nvSpPr>
        <p:spPr>
          <a:xfrm>
            <a:off x="3685032" y="4151031"/>
            <a:ext cx="25629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/>
              <a:t>Shift</a:t>
            </a:r>
            <a:r>
              <a:rPr lang="zh-CN" altLang="en-US" sz="900" dirty="0"/>
              <a:t> </a:t>
            </a:r>
            <a:r>
              <a:rPr lang="en-US" altLang="zh-CN" sz="900" dirty="0"/>
              <a:t>status</a:t>
            </a:r>
            <a:r>
              <a:rPr lang="zh-CN" altLang="en-US" sz="900" dirty="0"/>
              <a:t> </a:t>
            </a:r>
            <a:r>
              <a:rPr lang="en-US" altLang="zh-CN" sz="900" dirty="0"/>
              <a:t>1</a:t>
            </a:r>
          </a:p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specific symbols + capital letters</a:t>
            </a:r>
            <a:r>
              <a:rPr lang="en-CN" sz="900" dirty="0">
                <a:solidFill>
                  <a:schemeClr val="bg1">
                    <a:lumMod val="65000"/>
                  </a:schemeClr>
                </a:solidFill>
              </a:rPr>
              <a:t> </a:t>
            </a:r>
          </a:p>
          <a:p>
            <a:endParaRPr lang="en-CN" sz="900" dirty="0"/>
          </a:p>
        </p:txBody>
      </p:sp>
      <p:sp>
        <p:nvSpPr>
          <p:cNvPr id="6" name="Rectangle 5">
            <a:hlinkClick r:id="rId3" action="ppaction://hlinksldjump"/>
            <a:extLst>
              <a:ext uri="{FF2B5EF4-FFF2-40B4-BE49-F238E27FC236}">
                <a16:creationId xmlns:a16="http://schemas.microsoft.com/office/drawing/2014/main" id="{067C0FE6-1F2C-2744-AF76-3686E982CE55}"/>
              </a:ext>
            </a:extLst>
          </p:cNvPr>
          <p:cNvSpPr/>
          <p:nvPr/>
        </p:nvSpPr>
        <p:spPr>
          <a:xfrm>
            <a:off x="1626577" y="4009293"/>
            <a:ext cx="703385" cy="395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8D5709-44E7-F74E-AF1C-5EBC1DA5EB3B}"/>
              </a:ext>
            </a:extLst>
          </p:cNvPr>
          <p:cNvSpPr txBox="1"/>
          <p:nvPr/>
        </p:nvSpPr>
        <p:spPr>
          <a:xfrm>
            <a:off x="5860074" y="1095375"/>
            <a:ext cx="278069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Press shift for special characters and capital let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ype any key and return to default numerics and small let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r Press shift again to return to default numerics and small let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N"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D4611B-A828-4D44-A569-A5762DBF8E7A}"/>
              </a:ext>
            </a:extLst>
          </p:cNvPr>
          <p:cNvSpPr/>
          <p:nvPr/>
        </p:nvSpPr>
        <p:spPr>
          <a:xfrm>
            <a:off x="436728" y="188316"/>
            <a:ext cx="75608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en-US" sz="2800" dirty="0">
                <a:solidFill>
                  <a:schemeClr val="dk1"/>
                </a:solidFill>
              </a:rPr>
              <a:t>Keyboard refinements</a:t>
            </a:r>
            <a:endParaRPr lang="en-US" sz="2800" dirty="0">
              <a:solidFill>
                <a:prstClr val="black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DCA869E-A112-F448-A718-A38F7DFB4E19}"/>
              </a:ext>
            </a:extLst>
          </p:cNvPr>
          <p:cNvGrpSpPr/>
          <p:nvPr/>
        </p:nvGrpSpPr>
        <p:grpSpPr>
          <a:xfrm>
            <a:off x="503238" y="1095375"/>
            <a:ext cx="4861560" cy="3038475"/>
            <a:chOff x="503238" y="1095375"/>
            <a:chExt cx="4861560" cy="3038475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45A3AF0-3C69-134D-989D-ED7512A289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3238" y="1095375"/>
              <a:ext cx="4861560" cy="3038475"/>
            </a:xfrm>
            <a:prstGeom prst="rect">
              <a:avLst/>
            </a:prstGeom>
          </p:spPr>
        </p:pic>
        <p:pic>
          <p:nvPicPr>
            <p:cNvPr id="7" name="Picture 6" descr="A picture containing meter&#10;&#10;Description automatically generated">
              <a:extLst>
                <a:ext uri="{FF2B5EF4-FFF2-40B4-BE49-F238E27FC236}">
                  <a16:creationId xmlns:a16="http://schemas.microsoft.com/office/drawing/2014/main" id="{84FB8330-84F3-404D-A501-B94E84AE1F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40" y="1125350"/>
              <a:ext cx="508000" cy="222250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006BE96D-0750-4A40-923D-1B5D306546B3}"/>
              </a:ext>
            </a:extLst>
          </p:cNvPr>
          <p:cNvSpPr/>
          <p:nvPr/>
        </p:nvSpPr>
        <p:spPr>
          <a:xfrm>
            <a:off x="404158" y="4426984"/>
            <a:ext cx="18894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Tracker #2 and #9 </a:t>
            </a:r>
          </a:p>
        </p:txBody>
      </p:sp>
    </p:spTree>
    <p:extLst>
      <p:ext uri="{BB962C8B-B14F-4D97-AF65-F5344CB8AC3E}">
        <p14:creationId xmlns:p14="http://schemas.microsoft.com/office/powerpoint/2010/main" val="182723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hlinkClick r:id="rId2" action="ppaction://hlinksldjump"/>
            <a:extLst>
              <a:ext uri="{FF2B5EF4-FFF2-40B4-BE49-F238E27FC236}">
                <a16:creationId xmlns:a16="http://schemas.microsoft.com/office/drawing/2014/main" id="{2DACCF1C-0233-6346-A9C9-CCBCD965B36A}"/>
              </a:ext>
            </a:extLst>
          </p:cNvPr>
          <p:cNvSpPr/>
          <p:nvPr/>
        </p:nvSpPr>
        <p:spPr>
          <a:xfrm>
            <a:off x="1626577" y="4009293"/>
            <a:ext cx="703385" cy="395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7" name="Rectangle 6">
            <a:hlinkClick r:id="rId3" action="ppaction://hlinksldjump"/>
            <a:extLst>
              <a:ext uri="{FF2B5EF4-FFF2-40B4-BE49-F238E27FC236}">
                <a16:creationId xmlns:a16="http://schemas.microsoft.com/office/drawing/2014/main" id="{EDEBE38A-ACD1-ED47-9EE9-307C0B49CAE9}"/>
              </a:ext>
            </a:extLst>
          </p:cNvPr>
          <p:cNvSpPr/>
          <p:nvPr/>
        </p:nvSpPr>
        <p:spPr>
          <a:xfrm>
            <a:off x="2417885" y="3982916"/>
            <a:ext cx="808892" cy="422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 sz="135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E3B4AA-9CE5-8F4B-BA24-6D50A2D3375E}"/>
              </a:ext>
            </a:extLst>
          </p:cNvPr>
          <p:cNvSpPr txBox="1"/>
          <p:nvPr/>
        </p:nvSpPr>
        <p:spPr>
          <a:xfrm>
            <a:off x="5860073" y="1095375"/>
            <a:ext cx="27806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Press Lock for Locked capital let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ress lock again to return to small letters</a:t>
            </a:r>
            <a:endParaRPr lang="en-CN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AEF480-95E7-E74F-9B94-86E052BAE1AC}"/>
              </a:ext>
            </a:extLst>
          </p:cNvPr>
          <p:cNvSpPr/>
          <p:nvPr/>
        </p:nvSpPr>
        <p:spPr>
          <a:xfrm>
            <a:off x="436728" y="188316"/>
            <a:ext cx="75608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en-US" sz="2800" dirty="0">
                <a:solidFill>
                  <a:schemeClr val="dk1"/>
                </a:solidFill>
              </a:rPr>
              <a:t>Keyboard refinements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566C68-42B3-824A-8CBC-955285A4BFDF}"/>
              </a:ext>
            </a:extLst>
          </p:cNvPr>
          <p:cNvSpPr txBox="1"/>
          <p:nvPr/>
        </p:nvSpPr>
        <p:spPr>
          <a:xfrm>
            <a:off x="3685032" y="4151031"/>
            <a:ext cx="25629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/>
              <a:t>Lock</a:t>
            </a:r>
            <a:r>
              <a:rPr lang="zh-CN" altLang="en-US" sz="900" dirty="0"/>
              <a:t> </a:t>
            </a:r>
            <a:r>
              <a:rPr lang="en-US" altLang="zh-CN" sz="900" dirty="0"/>
              <a:t>status</a:t>
            </a:r>
            <a:r>
              <a:rPr lang="zh-CN" altLang="en-US" sz="900" dirty="0"/>
              <a:t> </a:t>
            </a:r>
            <a:r>
              <a:rPr lang="en-US" altLang="zh-CN" sz="900" dirty="0"/>
              <a:t>1</a:t>
            </a:r>
          </a:p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numerics+ capital letters</a:t>
            </a:r>
            <a:r>
              <a:rPr lang="en-CN" sz="900" dirty="0">
                <a:solidFill>
                  <a:schemeClr val="bg1">
                    <a:lumMod val="65000"/>
                  </a:schemeClr>
                </a:solidFill>
              </a:rPr>
              <a:t> </a:t>
            </a:r>
          </a:p>
          <a:p>
            <a:endParaRPr lang="en-CN" sz="9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A79ED39-9AE1-D34A-9AC1-01E3B4B14F13}"/>
              </a:ext>
            </a:extLst>
          </p:cNvPr>
          <p:cNvGrpSpPr/>
          <p:nvPr/>
        </p:nvGrpSpPr>
        <p:grpSpPr>
          <a:xfrm>
            <a:off x="503238" y="1095375"/>
            <a:ext cx="4861560" cy="3038475"/>
            <a:chOff x="503238" y="1095375"/>
            <a:chExt cx="4861560" cy="3038475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E15C908-79D0-C841-892E-C58C7A61E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3238" y="1095375"/>
              <a:ext cx="4861560" cy="3038475"/>
            </a:xfrm>
            <a:prstGeom prst="rect">
              <a:avLst/>
            </a:prstGeom>
          </p:spPr>
        </p:pic>
        <p:pic>
          <p:nvPicPr>
            <p:cNvPr id="10" name="Picture 9" descr="A picture containing meter&#10;&#10;Description automatically generated">
              <a:extLst>
                <a:ext uri="{FF2B5EF4-FFF2-40B4-BE49-F238E27FC236}">
                  <a16:creationId xmlns:a16="http://schemas.microsoft.com/office/drawing/2014/main" id="{70D991C0-2CD4-E849-B082-55798FD8E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2240" y="1125350"/>
              <a:ext cx="508000" cy="222250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EFDA765F-260C-4943-8ED7-9CBEA2C4AE12}"/>
              </a:ext>
            </a:extLst>
          </p:cNvPr>
          <p:cNvSpPr/>
          <p:nvPr/>
        </p:nvSpPr>
        <p:spPr>
          <a:xfrm>
            <a:off x="404158" y="4426984"/>
            <a:ext cx="18894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Tracker #2 and #9 </a:t>
            </a:r>
          </a:p>
        </p:txBody>
      </p:sp>
    </p:spTree>
    <p:extLst>
      <p:ext uri="{BB962C8B-B14F-4D97-AF65-F5344CB8AC3E}">
        <p14:creationId xmlns:p14="http://schemas.microsoft.com/office/powerpoint/2010/main" val="4252381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3900000000000005684E+00&quot;&gt;&lt;m_msothmcolidx val=&quot;0&quot;/&gt;&lt;m_rgb r=&quot;A3&quot; g=&quot;D9&quot; b=&quot;D9&quot;/&gt;&lt;m_nBrightness val=&quot;0&quot;/&gt;&lt;/elem&gt;&lt;elem m_fUsage=&quot;1.41682643648100059508E+00&quot;&gt;&lt;m_msothmcolidx val=&quot;0&quot;/&gt;&lt;m_rgb r=&quot;9E&quot; g=&quot;2D&quot; b=&quot;B1&quot;/&gt;&lt;m_nBrightness val=&quot;0&quot;/&gt;&lt;/elem&gt;&lt;elem m_fUsage=&quot;1.20667841354961047351E+00&quot;&gt;&lt;m_msothmcolidx val=&quot;0&quot;/&gt;&lt;m_rgb r=&quot;EC&quot; g=&quot;43&quot; b=&quot;71&quot;/&gt;&lt;m_nBrightness val=&quot;0&quot;/&gt;&lt;/elem&gt;&lt;elem m_fUsage=&quot;8.80119440100000316463E-01&quot;&gt;&lt;m_msothmcolidx val=&quot;0&quot;/&gt;&lt;m_rgb r=&quot;00&quot; g=&quot;8E&quot; b=&quot;CC&quot;/&gt;&lt;m_nBrightness val=&quot;0&quot;/&gt;&lt;/elem&gt;&lt;elem m_fUsage=&quot;6.84653792832900287557E-01&quot;&gt;&lt;m_msothmcolidx val=&quot;0&quot;/&gt;&lt;m_rgb r=&quot;9E&quot; g=&quot;2D&quot; b=&quot;11&quot;/&gt;&lt;m_nBrightness val=&quot;0&quot;/&gt;&lt;/elem&gt;&lt;elem m_fUsage=&quot;3.13810596090000171188E-01&quot;&gt;&lt;m_msothmcolidx val=&quot;0&quot;/&gt;&lt;m_rgb r=&quot;09&quot; g=&quot;A3&quot; b=&quot;FF&quot;/&gt;&lt;m_nBrightness val=&quot;0&quot;/&gt;&lt;/elem&gt;&lt;elem m_fUsage=&quot;2.05891132094649098594E-01&quot;&gt;&lt;m_msothmcolidx val=&quot;0&quot;/&gt;&lt;m_rgb r=&quot;D3&quot; g=&quot;E8&quot; b=&quot;E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mNO_54Sa2hlaXD_IEj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Z.6C_Tu2XwAo0QYSk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hZnkiSTuqlYXlI_XspM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vyvM2iRHaxZ5i4g7GA.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template_16x9_aug18">
  <a:themeElements>
    <a:clrScheme name="Philip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6A1"/>
      </a:accent1>
      <a:accent2>
        <a:srgbClr val="1E9D8B"/>
      </a:accent2>
      <a:accent3>
        <a:srgbClr val="5B8F22"/>
      </a:accent3>
      <a:accent4>
        <a:srgbClr val="E98300"/>
      </a:accent4>
      <a:accent5>
        <a:srgbClr val="EC4371"/>
      </a:accent5>
      <a:accent6>
        <a:srgbClr val="9E2DB1"/>
      </a:accent6>
      <a:hlink>
        <a:srgbClr val="0089C4"/>
      </a:hlink>
      <a:folHlink>
        <a:srgbClr val="631D76"/>
      </a:folHlink>
    </a:clrScheme>
    <a:fontScheme name="Philips_New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aug18" id="{56A13CBC-EF3E-41E6-B92F-C843FF6B9EC9}" vid="{DC2E6CF5-64B9-4E50-944C-546BB0E4E1F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803EF18924BB40B6DB194A25FDA141" ma:contentTypeVersion="13" ma:contentTypeDescription="Create a new document." ma:contentTypeScope="" ma:versionID="db50c1c7fc70f1dd28a1e8fdb40303ab">
  <xsd:schema xmlns:xsd="http://www.w3.org/2001/XMLSchema" xmlns:xs="http://www.w3.org/2001/XMLSchema" xmlns:p="http://schemas.microsoft.com/office/2006/metadata/properties" xmlns:ns3="78c9174d-e5bc-4f24-b94a-46fe22040b98" xmlns:ns4="6a49684b-f282-4a84-a640-bfabccc7fd43" targetNamespace="http://schemas.microsoft.com/office/2006/metadata/properties" ma:root="true" ma:fieldsID="13bc298ff8c63903cc6a4dd208007540" ns3:_="" ns4:_="">
    <xsd:import namespace="78c9174d-e5bc-4f24-b94a-46fe22040b98"/>
    <xsd:import namespace="6a49684b-f282-4a84-a640-bfabccc7fd4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c9174d-e5bc-4f24-b94a-46fe22040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49684b-f282-4a84-a640-bfabccc7fd43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6B19EAE-C60C-4A22-AEAC-E2E40269822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316A37C-FA4E-41F4-8424-D562811A61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8c9174d-e5bc-4f24-b94a-46fe22040b98"/>
    <ds:schemaRef ds:uri="6a49684b-f282-4a84-a640-bfabccc7fd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203421-8C38-4B48-B192-05EE766F8990}">
  <ds:schemaRefs>
    <ds:schemaRef ds:uri="http://purl.org/dc/terms/"/>
    <ds:schemaRef ds:uri="78c9174d-e5bc-4f24-b94a-46fe22040b98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a49684b-f282-4a84-a640-bfabccc7fd43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template_16x9_aug18</Template>
  <TotalTime>399</TotalTime>
  <Words>266</Words>
  <Application>Microsoft Macintosh PowerPoint</Application>
  <PresentationFormat>On-screen Show (16:9)</PresentationFormat>
  <Paragraphs>49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presentation_template_16x9_aug18</vt:lpstr>
      <vt:lpstr>think-cell Slide</vt:lpstr>
      <vt:lpstr>Proposed new design (mobile style)</vt:lpstr>
      <vt:lpstr>PowerPoint Presentation</vt:lpstr>
      <vt:lpstr>PowerPoint Presentation</vt:lpstr>
      <vt:lpstr>PowerPoint Presentation</vt:lpstr>
      <vt:lpstr>PowerPoint Presentation</vt:lpstr>
      <vt:lpstr>Old design &amp; Current R&amp;D implem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ry.johnson_2@philips.com</dc:creator>
  <cp:lastModifiedBy>WEI, Han Sen</cp:lastModifiedBy>
  <cp:revision>153</cp:revision>
  <dcterms:created xsi:type="dcterms:W3CDTF">2020-04-02T14:25:30Z</dcterms:created>
  <dcterms:modified xsi:type="dcterms:W3CDTF">2020-09-07T09:4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803EF18924BB40B6DB194A25FDA141</vt:lpwstr>
  </property>
</Properties>
</file>